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</p:sldMasterIdLst>
  <p:notesMasterIdLst>
    <p:notesMasterId r:id="rId8"/>
  </p:notesMasterIdLst>
  <p:sldIdLst>
    <p:sldId id="412" r:id="rId7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16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844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C0C0"/>
    <a:srgbClr val="F6F6F6"/>
    <a:srgbClr val="D9D9D9"/>
    <a:srgbClr val="BDBDBD"/>
    <a:srgbClr val="727272"/>
    <a:srgbClr val="E5E5E5"/>
    <a:srgbClr val="444444"/>
    <a:srgbClr val="EB0000"/>
    <a:srgbClr val="C60018"/>
    <a:srgbClr val="A2001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16"/>
        <p:guide pos="937"/>
        <p:guide pos="6743"/>
        <p:guide orient="horz" pos="1185"/>
        <p:guide pos="7333"/>
        <p:guide orient="horz" pos="3702"/>
        <p:guide orient="horz" pos="640"/>
        <p:guide pos="1844"/>
        <p:guide orient="horz" pos="3770"/>
        <p:guide orient="horz" pos="14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igel Stefan (PAR-ES)" userId="fd3b2067-2981-4ad8-bf3a-d2e1004e4fa8" providerId="ADAL" clId="{60D6EBB6-AB49-4EC2-B385-F17C342D3D0B}"/>
    <pc:docChg chg="modSld">
      <pc:chgData name="Weigel Stefan (PAR-ES)" userId="fd3b2067-2981-4ad8-bf3a-d2e1004e4fa8" providerId="ADAL" clId="{60D6EBB6-AB49-4EC2-B385-F17C342D3D0B}" dt="2023-06-05T14:41:02.422" v="44" actId="6549"/>
      <pc:docMkLst>
        <pc:docMk/>
      </pc:docMkLst>
      <pc:sldChg chg="modSp mod">
        <pc:chgData name="Weigel Stefan (PAR-ES)" userId="fd3b2067-2981-4ad8-bf3a-d2e1004e4fa8" providerId="ADAL" clId="{60D6EBB6-AB49-4EC2-B385-F17C342D3D0B}" dt="2023-06-05T14:41:02.422" v="44" actId="6549"/>
        <pc:sldMkLst>
          <pc:docMk/>
          <pc:sldMk cId="2378578510" sldId="412"/>
        </pc:sldMkLst>
        <pc:spChg chg="mod">
          <ac:chgData name="Weigel Stefan (PAR-ES)" userId="fd3b2067-2981-4ad8-bf3a-d2e1004e4fa8" providerId="ADAL" clId="{60D6EBB6-AB49-4EC2-B385-F17C342D3D0B}" dt="2023-06-05T14:38:03.851" v="2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60D6EBB6-AB49-4EC2-B385-F17C342D3D0B}" dt="2023-06-05T14:38:21.469" v="5" actId="14100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60D6EBB6-AB49-4EC2-B385-F17C342D3D0B}" dt="2023-06-05T14:41:02.422" v="44" actId="6549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PS)" userId="fd3b2067-2981-4ad8-bf3a-d2e1004e4fa8" providerId="ADAL" clId="{6AC76C3E-2827-4884-99E7-91C34F30B1D6}"/>
    <pc:docChg chg="modSld">
      <pc:chgData name="Weigel Stefan (PAR-EPS)" userId="fd3b2067-2981-4ad8-bf3a-d2e1004e4fa8" providerId="ADAL" clId="{6AC76C3E-2827-4884-99E7-91C34F30B1D6}" dt="2024-06-10T12:22:06.049" v="15" actId="14100"/>
      <pc:docMkLst>
        <pc:docMk/>
      </pc:docMkLst>
      <pc:sldChg chg="modSp mod">
        <pc:chgData name="Weigel Stefan (PAR-EPS)" userId="fd3b2067-2981-4ad8-bf3a-d2e1004e4fa8" providerId="ADAL" clId="{6AC76C3E-2827-4884-99E7-91C34F30B1D6}" dt="2024-06-10T12:22:06.049" v="15" actId="14100"/>
        <pc:sldMkLst>
          <pc:docMk/>
          <pc:sldMk cId="2378578510" sldId="412"/>
        </pc:sldMkLst>
        <pc:spChg chg="mod">
          <ac:chgData name="Weigel Stefan (PAR-EPS)" userId="fd3b2067-2981-4ad8-bf3a-d2e1004e4fa8" providerId="ADAL" clId="{6AC76C3E-2827-4884-99E7-91C34F30B1D6}" dt="2024-06-10T12:20:32.99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6AC76C3E-2827-4884-99E7-91C34F30B1D6}" dt="2024-06-10T12:22:06.049" v="15" actId="14100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  <pc:docChgLst>
    <pc:chgData name="Weigel Stefan (PAR-ES)" userId="fd3b2067-2981-4ad8-bf3a-d2e1004e4fa8" providerId="ADAL" clId="{C33823CC-8C54-4D38-AE0F-1937C6FCF159}"/>
    <pc:docChg chg="undo custSel modSld">
      <pc:chgData name="Weigel Stefan (PAR-ES)" userId="fd3b2067-2981-4ad8-bf3a-d2e1004e4fa8" providerId="ADAL" clId="{C33823CC-8C54-4D38-AE0F-1937C6FCF159}" dt="2022-12-08T15:39:35.006" v="100" actId="20577"/>
      <pc:docMkLst>
        <pc:docMk/>
      </pc:docMkLst>
      <pc:sldChg chg="addSp delSp modSp mod">
        <pc:chgData name="Weigel Stefan (PAR-ES)" userId="fd3b2067-2981-4ad8-bf3a-d2e1004e4fa8" providerId="ADAL" clId="{C33823CC-8C54-4D38-AE0F-1937C6FCF159}" dt="2022-12-08T15:39:35.006" v="100" actId="20577"/>
        <pc:sldMkLst>
          <pc:docMk/>
          <pc:sldMk cId="2378578510" sldId="412"/>
        </pc:sldMkLst>
        <pc:spChg chg="mod">
          <ac:chgData name="Weigel Stefan (PAR-ES)" userId="fd3b2067-2981-4ad8-bf3a-d2e1004e4fa8" providerId="ADAL" clId="{C33823CC-8C54-4D38-AE0F-1937C6FCF159}" dt="2022-12-08T15:17:25.967" v="23" actId="20577"/>
          <ac:spMkLst>
            <pc:docMk/>
            <pc:sldMk cId="2378578510" sldId="412"/>
            <ac:spMk id="2" creationId="{00000000-0000-0000-0000-000000000000}"/>
          </ac:spMkLst>
        </pc:spChg>
        <pc:spChg chg="add del mod">
          <ac:chgData name="Weigel Stefan (PAR-ES)" userId="fd3b2067-2981-4ad8-bf3a-d2e1004e4fa8" providerId="ADAL" clId="{C33823CC-8C54-4D38-AE0F-1937C6FCF159}" dt="2022-12-08T15:25:03.064" v="66"/>
          <ac:spMkLst>
            <pc:docMk/>
            <pc:sldMk cId="2378578510" sldId="412"/>
            <ac:spMk id="3" creationId="{33849BC8-3E53-44EC-12E2-0C65E9291855}"/>
          </ac:spMkLst>
        </pc:spChg>
        <pc:spChg chg="mod">
          <ac:chgData name="Weigel Stefan (PAR-ES)" userId="fd3b2067-2981-4ad8-bf3a-d2e1004e4fa8" providerId="ADAL" clId="{C33823CC-8C54-4D38-AE0F-1937C6FCF159}" dt="2022-12-08T15:19:56.620" v="60" actId="20577"/>
          <ac:spMkLst>
            <pc:docMk/>
            <pc:sldMk cId="2378578510" sldId="412"/>
            <ac:spMk id="10" creationId="{7C1F5462-CEF0-4F61-8CF0-966B6E3CE5FA}"/>
          </ac:spMkLst>
        </pc:spChg>
        <pc:spChg chg="mod">
          <ac:chgData name="Weigel Stefan (PAR-ES)" userId="fd3b2067-2981-4ad8-bf3a-d2e1004e4fa8" providerId="ADAL" clId="{C33823CC-8C54-4D38-AE0F-1937C6FCF159}" dt="2022-12-08T15:39:35.006" v="100" actId="20577"/>
          <ac:spMkLst>
            <pc:docMk/>
            <pc:sldMk cId="2378578510" sldId="412"/>
            <ac:spMk id="11" creationId="{CAAD78FC-EBAB-42C7-8FC8-FD065083F070}"/>
          </ac:spMkLst>
        </pc:spChg>
        <pc:graphicFrameChg chg="add del mod modGraphic">
          <ac:chgData name="Weigel Stefan (PAR-ES)" userId="fd3b2067-2981-4ad8-bf3a-d2e1004e4fa8" providerId="ADAL" clId="{C33823CC-8C54-4D38-AE0F-1937C6FCF159}" dt="2022-12-08T15:27:43.435" v="78" actId="478"/>
          <ac:graphicFrameMkLst>
            <pc:docMk/>
            <pc:sldMk cId="2378578510" sldId="412"/>
            <ac:graphicFrameMk id="5" creationId="{AB0D12E6-D536-DBD1-BB54-BB39F1274B8E}"/>
          </ac:graphicFrameMkLst>
        </pc:graphicFrameChg>
        <pc:graphicFrameChg chg="mod">
          <ac:chgData name="Weigel Stefan (PAR-ES)" userId="fd3b2067-2981-4ad8-bf3a-d2e1004e4fa8" providerId="ADAL" clId="{C33823CC-8C54-4D38-AE0F-1937C6FCF159}" dt="2022-12-08T15:26:11.137" v="73"/>
          <ac:graphicFrameMkLst>
            <pc:docMk/>
            <pc:sldMk cId="2378578510" sldId="412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A960615E-EB95-4422-B313-59381D4A110F}"/>
    <pc:docChg chg="modSld">
      <pc:chgData name="Weigel Stefan (PAR-ES)" userId="fd3b2067-2981-4ad8-bf3a-d2e1004e4fa8" providerId="ADAL" clId="{A960615E-EB95-4422-B313-59381D4A110F}" dt="2023-06-05T14:29:08.001" v="70" actId="27918"/>
      <pc:docMkLst>
        <pc:docMk/>
      </pc:docMkLst>
      <pc:sldChg chg="modSp mod">
        <pc:chgData name="Weigel Stefan (PAR-ES)" userId="fd3b2067-2981-4ad8-bf3a-d2e1004e4fa8" providerId="ADAL" clId="{A960615E-EB95-4422-B313-59381D4A110F}" dt="2023-06-05T14:29:08.001" v="70" actId="27918"/>
        <pc:sldMkLst>
          <pc:docMk/>
          <pc:sldMk cId="2378578510" sldId="412"/>
        </pc:sldMkLst>
        <pc:spChg chg="mod">
          <ac:chgData name="Weigel Stefan (PAR-ES)" userId="fd3b2067-2981-4ad8-bf3a-d2e1004e4fa8" providerId="ADAL" clId="{A960615E-EB95-4422-B313-59381D4A110F}" dt="2023-06-05T13:49:57.448" v="1" actId="20577"/>
          <ac:spMkLst>
            <pc:docMk/>
            <pc:sldMk cId="2378578510" sldId="412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A960615E-EB95-4422-B313-59381D4A110F}" dt="2023-06-05T14:07:36.831" v="65" actId="20577"/>
          <ac:spMkLst>
            <pc:docMk/>
            <pc:sldMk cId="2378578510" sldId="412"/>
            <ac:spMk id="11" creationId="{CAAD78FC-EBAB-42C7-8FC8-FD065083F070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0736688667121836"/>
          <c:y val="4.3209984459797866E-2"/>
          <c:w val="0.68332967651412979"/>
          <c:h val="0.68576670024200748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data!$G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</c:spPr>
          <c:invertIfNegative val="0"/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01CA-4EBE-982D-7600ECF50D19}"/>
              </c:ext>
            </c:extLst>
          </c:dPt>
          <c:cat>
            <c:strRef>
              <c:f>data!$G$4:$G$15</c:f>
              <c:strCache>
                <c:ptCount val="12"/>
                <c:pt idx="0">
                  <c:v>Biel/Bienne</c:v>
                </c:pt>
                <c:pt idx="1">
                  <c:v>Zürich Hardbrücke</c:v>
                </c:pt>
                <c:pt idx="2">
                  <c:v>Zürich Stadelhofen</c:v>
                </c:pt>
                <c:pt idx="3">
                  <c:v>Olten</c:v>
                </c:pt>
                <c:pt idx="4">
                  <c:v>Genève</c:v>
                </c:pt>
                <c:pt idx="5">
                  <c:v>Zürich Oerlikon</c:v>
                </c:pt>
                <c:pt idx="6">
                  <c:v>Luzern</c:v>
                </c:pt>
                <c:pt idx="7">
                  <c:v>Basel SBB</c:v>
                </c:pt>
                <c:pt idx="8">
                  <c:v>Lausanne</c:v>
                </c:pt>
                <c:pt idx="9">
                  <c:v>Winterthur</c:v>
                </c:pt>
                <c:pt idx="10">
                  <c:v>Bern</c:v>
                </c:pt>
                <c:pt idx="11">
                  <c:v>Zürich HB</c:v>
                </c:pt>
              </c:strCache>
            </c:strRef>
          </c:cat>
          <c:val>
            <c:numRef>
              <c:f>data!$H$4:$H$15</c:f>
              <c:numCache>
                <c:formatCode>#,##0</c:formatCode>
                <c:ptCount val="12"/>
                <c:pt idx="0">
                  <c:v>50788.348130257</c:v>
                </c:pt>
                <c:pt idx="1">
                  <c:v>59139.458787557</c:v>
                </c:pt>
                <c:pt idx="2">
                  <c:v>80430.515989124004</c:v>
                </c:pt>
                <c:pt idx="3">
                  <c:v>80919.956485992006</c:v>
                </c:pt>
                <c:pt idx="4">
                  <c:v>88507.010188442</c:v>
                </c:pt>
                <c:pt idx="5">
                  <c:v>94228.380233599004</c:v>
                </c:pt>
                <c:pt idx="6">
                  <c:v>104413.94504900899</c:v>
                </c:pt>
                <c:pt idx="7">
                  <c:v>105866.530612527</c:v>
                </c:pt>
                <c:pt idx="8">
                  <c:v>105919.77825680999</c:v>
                </c:pt>
                <c:pt idx="9">
                  <c:v>110894.100309484</c:v>
                </c:pt>
                <c:pt idx="10">
                  <c:v>189245.99793238999</c:v>
                </c:pt>
                <c:pt idx="11">
                  <c:v>419626.387743605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CA-4EBE-982D-7600ECF50D19}"/>
            </c:ext>
          </c:extLst>
        </c:ser>
        <c:ser>
          <c:idx val="1"/>
          <c:order val="1"/>
          <c:tx>
            <c:strRef>
              <c:f>data!$I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rgbClr val="C0C0C0"/>
            </a:solidFill>
          </c:spPr>
          <c:invertIfNegative val="0"/>
          <c:val>
            <c:numRef>
              <c:f>data!$I$4:$I$15</c:f>
              <c:numCache>
                <c:formatCode>#,##0</c:formatCode>
                <c:ptCount val="12"/>
                <c:pt idx="0">
                  <c:v>53698.175479514</c:v>
                </c:pt>
                <c:pt idx="1">
                  <c:v>59700.802056528999</c:v>
                </c:pt>
                <c:pt idx="2">
                  <c:v>82830.752326849004</c:v>
                </c:pt>
                <c:pt idx="3">
                  <c:v>82954.724790880995</c:v>
                </c:pt>
                <c:pt idx="4">
                  <c:v>70674.853618659006</c:v>
                </c:pt>
                <c:pt idx="5">
                  <c:v>94691.643828779997</c:v>
                </c:pt>
                <c:pt idx="6">
                  <c:v>97851.399348337</c:v>
                </c:pt>
                <c:pt idx="7">
                  <c:v>110988.370117025</c:v>
                </c:pt>
                <c:pt idx="8">
                  <c:v>102518.160644038</c:v>
                </c:pt>
                <c:pt idx="9">
                  <c:v>109255.123356399</c:v>
                </c:pt>
                <c:pt idx="10">
                  <c:v>206449.596630149</c:v>
                </c:pt>
                <c:pt idx="11">
                  <c:v>471318.048921242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329-4BC0-B2A2-0C7A0E889DD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axId val="139945472"/>
        <c:axId val="139943936"/>
      </c:barChart>
      <c:valAx>
        <c:axId val="139943936"/>
        <c:scaling>
          <c:orientation val="minMax"/>
        </c:scaling>
        <c:delete val="0"/>
        <c:axPos val="b"/>
        <c:majorGridlines/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139945472"/>
        <c:crosses val="autoZero"/>
        <c:crossBetween val="between"/>
        <c:majorUnit val="100000"/>
      </c:valAx>
      <c:catAx>
        <c:axId val="139945472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5A5A5A"/>
            </a:solidFill>
          </a:ln>
        </c:spPr>
        <c:crossAx val="139943936"/>
        <c:crosses val="autoZero"/>
        <c:auto val="0"/>
        <c:lblAlgn val="ctr"/>
        <c:lblOffset val="100"/>
        <c:noMultiLvlLbl val="0"/>
      </c:catAx>
    </c:plotArea>
    <c:legend>
      <c:legendPos val="t"/>
      <c:layout>
        <c:manualLayout>
          <c:xMode val="edge"/>
          <c:yMode val="edge"/>
          <c:x val="0.90401307248437723"/>
          <c:y val="1.463918163516585E-2"/>
          <c:w val="9.0333831602720321E-2"/>
          <c:h val="4.4457965088433526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10.06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3770387148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9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theme" Target="../theme/theme3.xml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slideLayout" Target="../slideLayouts/slideLayout87.xml"/><Relationship Id="rId40" Type="http://schemas.openxmlformats.org/officeDocument/2006/relationships/image" Target="../media/image10.emf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48" r:id="rId36"/>
    <p:sldLayoutId id="2147483750" r:id="rId37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0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6.xml"/><Relationship Id="rId7" Type="http://schemas.openxmlformats.org/officeDocument/2006/relationships/chart" Target="../charts/chart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5204AB-07B8-4463-897A-7AAA87D1D0A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5204AB-07B8-4463-897A-7AAA87D1D0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D73BCCFE-9C49-4674-8A05-73BACB5E5D66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ffluenza dei viaggiatori nelle stazioni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638985235"/>
              </p:ext>
            </p:extLst>
          </p:nvPr>
        </p:nvGraphicFramePr>
        <p:xfrm>
          <a:off x="388189" y="1652791"/>
          <a:ext cx="11252949" cy="52052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7C1F5462-CEF0-4F61-8CF0-966B6E3CE5FA}"/>
              </a:ext>
            </a:extLst>
          </p:cNvPr>
          <p:cNvSpPr txBox="1"/>
          <p:nvPr/>
        </p:nvSpPr>
        <p:spPr>
          <a:xfrm>
            <a:off x="1487488" y="1015830"/>
            <a:ext cx="9116344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umero medio di viaggiatori che salgono e scendono dai mezzi per giorno lavorativo in comparazione con il 2018.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AAD78FC-EBAB-42C7-8FC8-FD065083F070}"/>
              </a:ext>
            </a:extLst>
          </p:cNvPr>
          <p:cNvSpPr txBox="1"/>
          <p:nvPr/>
        </p:nvSpPr>
        <p:spPr>
          <a:xfrm>
            <a:off x="1487488" y="6106515"/>
            <a:ext cx="8177880" cy="46166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Sono rappresentate le 12 stazioni a maggiore affluenza, contando i passeggeri che salgono e scendono dai treni; Zurigo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SZU; Berna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RBS; Basilea FFS e Ginevra: sono considerati solo in parte i passeggeri dall’estero che salgono e scendono dai treni; Zurigo Stadelhofen: escl. FB;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Bie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/Bienne: </a:t>
            </a:r>
            <a:r>
              <a:rPr kumimoji="0" lang="it-IT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escl</a:t>
            </a:r>
            <a:r>
              <a:rPr kumimoji="0" lang="it-IT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ASM. Riferimento: anni d’orario 2018 e 2023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39770BBD-8851-4CD7-9A78-C7E91EAFC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3785785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XLvQNESZ6lzyxrEfKKjQ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427DE17-CAD6-4EDE-8515-A2AC6E8D897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metadata/properties"/>
    <ds:schemaRef ds:uri="http://schemas.microsoft.com/office/2006/documentManagement/types"/>
    <ds:schemaRef ds:uri="2f5c8543-cf23-4718-a3b8-32b0a91d511a"/>
    <ds:schemaRef ds:uri="96e82a89-ba48-4728-b345-cf206dbec8f1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2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0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think-cell Folie</vt:lpstr>
      <vt:lpstr>Affluenza dei viaggiatori nelle stazioni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ffluenza dei viaggiatori nelle stazioni nel 2023.</dc:title>
  <dc:creator>Meyer Raphael (KOM-PGA-VSF)</dc:creator>
  <cp:lastModifiedBy>Stefan Weigel (PAR-EPS)</cp:lastModifiedBy>
  <cp:revision>57</cp:revision>
  <dcterms:created xsi:type="dcterms:W3CDTF">2020-09-30T11:00:09Z</dcterms:created>
  <dcterms:modified xsi:type="dcterms:W3CDTF">2024-06-10T12:23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